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6"/>
  </p:notesMasterIdLst>
  <p:sldIdLst>
    <p:sldId id="315" r:id="rId2"/>
    <p:sldId id="316" r:id="rId3"/>
    <p:sldId id="323" r:id="rId4"/>
    <p:sldId id="335" r:id="rId5"/>
    <p:sldId id="324" r:id="rId6"/>
    <p:sldId id="331" r:id="rId7"/>
    <p:sldId id="325" r:id="rId8"/>
    <p:sldId id="332" r:id="rId9"/>
    <p:sldId id="326" r:id="rId10"/>
    <p:sldId id="334" r:id="rId11"/>
    <p:sldId id="327" r:id="rId12"/>
    <p:sldId id="333" r:id="rId13"/>
    <p:sldId id="328" r:id="rId14"/>
    <p:sldId id="336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312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5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12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692771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  <a:r>
              <a:rPr lang="en-US" b="0" dirty="0"/>
              <a:t>Administration of the </a:t>
            </a:r>
            <a:r>
              <a:rPr lang="en-US" b="0" dirty="0" err="1"/>
              <a:t>eApp</a:t>
            </a:r>
            <a:endParaRPr lang="en-US" altLang="zh-CN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dirty="0">
                <a:solidFill>
                  <a:srgbClr val="FF0000"/>
                </a:solidFill>
                <a:latin typeface="BMW Group Condensed" panose="020B0606020202020204" pitchFamily="34" charset="0"/>
              </a:rPr>
              <a:t>Functionalities for the product owner SF China</a:t>
            </a:r>
            <a:endParaRPr lang="en-US" altLang="zh-CN" dirty="0" smtClean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020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12321" y="1534886"/>
            <a:ext cx="11397343" cy="5208814"/>
            <a:chOff x="612321" y="1534886"/>
            <a:chExt cx="11397343" cy="5208814"/>
          </a:xfrm>
        </p:grpSpPr>
        <p:sp>
          <p:nvSpPr>
            <p:cNvPr id="7" name="Rectangle 6"/>
            <p:cNvSpPr/>
            <p:nvPr/>
          </p:nvSpPr>
          <p:spPr>
            <a:xfrm>
              <a:off x="612321" y="1534886"/>
              <a:ext cx="11397343" cy="52006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612321" y="1983921"/>
              <a:ext cx="11397343" cy="0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000250" y="1983921"/>
              <a:ext cx="0" cy="4759779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726621" y="1574738"/>
              <a:ext cx="110217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BMW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2321" y="2066471"/>
              <a:ext cx="1387929" cy="369332"/>
            </a:xfrm>
            <a:prstGeom prst="rect">
              <a:avLst/>
            </a:prstGeom>
            <a:solidFill>
              <a:srgbClr val="3F7BFD"/>
            </a:solidFill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BMW Group Condensed" panose="020B0606020202020204" pitchFamily="34" charset="0"/>
                </a:rPr>
                <a:t>Requests </a:t>
              </a:r>
              <a:endPara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321" y="2588532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Report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2321" y="3110593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Configure</a:t>
              </a:r>
              <a:endPara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686596" y="1624373"/>
            <a:ext cx="2350106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dmin@bmw.com</a:t>
            </a:r>
          </a:p>
        </p:txBody>
      </p:sp>
      <p:sp>
        <p:nvSpPr>
          <p:cNvPr id="8" name="Rectangle 7"/>
          <p:cNvSpPr/>
          <p:nvPr/>
        </p:nvSpPr>
        <p:spPr>
          <a:xfrm>
            <a:off x="2220685" y="2147207"/>
            <a:ext cx="7894865" cy="4000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540093" y="2188029"/>
            <a:ext cx="1296913" cy="3429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arch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220685" y="2815193"/>
          <a:ext cx="9616320" cy="3110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264"/>
                <a:gridCol w="1923264"/>
                <a:gridCol w="1923264"/>
                <a:gridCol w="1923264"/>
                <a:gridCol w="1923264"/>
              </a:tblGrid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pplicationNo</a:t>
                      </a:r>
                      <a:r>
                        <a:rPr lang="en-US" dirty="0" smtClean="0"/>
                        <a:t>/</a:t>
                      </a:r>
                      <a:r>
                        <a:rPr lang="en-US" dirty="0" err="1" smtClean="0"/>
                        <a:t>Contract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t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张三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2112345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os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李四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12334563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cess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王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321322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rov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10017579" y="6121401"/>
            <a:ext cx="1696054" cy="35287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xport as Excel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72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</a:t>
            </a:r>
            <a:r>
              <a:rPr lang="en-US" altLang="zh-CN" dirty="0" smtClean="0"/>
              <a:t>5</a:t>
            </a:r>
            <a:r>
              <a:rPr lang="en-US" dirty="0" smtClean="0"/>
              <a:t>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asy Finance APP admin, I want to have app usage reports for statistics, so that I can analyze user behavior and improve the functionalities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There are admins to maintain </a:t>
            </a:r>
            <a:r>
              <a:rPr lang="en-US" dirty="0" err="1">
                <a:solidFill>
                  <a:srgbClr val="172B4D"/>
                </a:solidFill>
              </a:rPr>
              <a:t>eApp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Admin needs </a:t>
            </a:r>
            <a:r>
              <a:rPr lang="en-US" dirty="0" smtClean="0">
                <a:solidFill>
                  <a:srgbClr val="172B4D"/>
                </a:solidFill>
              </a:rPr>
              <a:t>to analyze the usage of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endParaRPr lang="en-US" dirty="0" smtClean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nalysis plugins are allowed in BMW app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nalysis policy is agreed by BMW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analysis report should monitor the usage of the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 in general, like user numbers, return rate, location, OS, etc</a:t>
            </a:r>
            <a:r>
              <a:rPr lang="en-US" dirty="0">
                <a:solidFill>
                  <a:srgbClr val="172B4D"/>
                </a:solidFill>
              </a:rPr>
              <a:t>.</a:t>
            </a:r>
            <a:endParaRPr lang="en-US" dirty="0" smtClean="0">
              <a:solidFill>
                <a:srgbClr val="172B4D"/>
              </a:solidFill>
            </a:endParaRPr>
          </a:p>
          <a:p>
            <a:r>
              <a:rPr lang="en-US" dirty="0" smtClean="0">
                <a:solidFill>
                  <a:srgbClr val="172B4D"/>
                </a:solidFill>
              </a:rPr>
              <a:t>The analysis report should monitor the usage in app, like user actions, login numbers, buttons clicked, etc.</a:t>
            </a:r>
            <a:endParaRPr lang="en-US" dirty="0"/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517041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479237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517042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47923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3923" y="244143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244143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88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12321" y="1534886"/>
            <a:ext cx="11397343" cy="5208814"/>
            <a:chOff x="612321" y="1534886"/>
            <a:chExt cx="11397343" cy="5208814"/>
          </a:xfrm>
        </p:grpSpPr>
        <p:sp>
          <p:nvSpPr>
            <p:cNvPr id="7" name="Rectangle 6"/>
            <p:cNvSpPr/>
            <p:nvPr/>
          </p:nvSpPr>
          <p:spPr>
            <a:xfrm>
              <a:off x="612321" y="1534886"/>
              <a:ext cx="11397343" cy="52006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612321" y="1983921"/>
              <a:ext cx="11397343" cy="0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000250" y="1983921"/>
              <a:ext cx="0" cy="4759779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726621" y="1574738"/>
              <a:ext cx="110217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BMW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2321" y="2066471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>
              <a:defPPr>
                <a:defRPr lang="de-DE"/>
              </a:defPPr>
              <a:lvl1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rgbClr val="000000"/>
                  </a:solidFill>
                  <a:latin typeface="BMW Group Condensed" panose="020B0606020202020204" pitchFamily="34" charset="0"/>
                </a:defRPr>
              </a:lvl1pPr>
            </a:lstStyle>
            <a:p>
              <a:r>
                <a:rPr lang="en-US" dirty="0"/>
                <a:t>Requests 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321" y="2588532"/>
              <a:ext cx="1387929" cy="369332"/>
            </a:xfrm>
            <a:prstGeom prst="rect">
              <a:avLst/>
            </a:prstGeom>
            <a:solidFill>
              <a:srgbClr val="3F7BFD"/>
            </a:solidFill>
          </p:spPr>
          <p:txBody>
            <a:bodyPr vert="horz" wrap="square" rtlCol="0">
              <a:spAutoFit/>
            </a:bodyPr>
            <a:lstStyle>
              <a:defPPr>
                <a:defRPr lang="de-DE"/>
              </a:defPPr>
              <a:lvl1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>
                  <a:solidFill>
                    <a:schemeClr val="bg1"/>
                  </a:solidFill>
                  <a:latin typeface="BMW Group Condensed" panose="020B0606020202020204" pitchFamily="34" charset="0"/>
                </a:defRPr>
              </a:lvl1pPr>
            </a:lstStyle>
            <a:p>
              <a:r>
                <a:rPr lang="en-US" dirty="0"/>
                <a:t>Report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2321" y="3110593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Configure</a:t>
              </a:r>
              <a:endPara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686596" y="1624373"/>
            <a:ext cx="2350106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dmin@bmw.com</a:t>
            </a:r>
          </a:p>
        </p:txBody>
      </p:sp>
      <p:sp>
        <p:nvSpPr>
          <p:cNvPr id="9" name="Rectangle 8"/>
          <p:cNvSpPr/>
          <p:nvPr/>
        </p:nvSpPr>
        <p:spPr>
          <a:xfrm>
            <a:off x="4801105" y="6325508"/>
            <a:ext cx="1296913" cy="3429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xpor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8900" y="2188029"/>
            <a:ext cx="5641324" cy="388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1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</a:t>
            </a:r>
            <a:r>
              <a:rPr lang="en-US" altLang="zh-CN" dirty="0" smtClean="0"/>
              <a:t>6</a:t>
            </a:r>
            <a:r>
              <a:rPr lang="en-US" dirty="0" smtClean="0"/>
              <a:t>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he functionalities of </a:t>
            </a:r>
            <a:r>
              <a:rPr lang="en-US" dirty="0" err="1"/>
              <a:t>eApp</a:t>
            </a:r>
            <a:r>
              <a:rPr lang="en-US" dirty="0"/>
              <a:t> (like eAuthentication) to be re-usable, so that I can re-use the functionalities for other use cases ( e.g. for a online customer journey (web</a:t>
            </a:r>
            <a:r>
              <a:rPr lang="en-US" dirty="0" smtClean="0"/>
              <a:t>))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will be different app/system having same purpose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: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All reusable features are pre-defined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Reusable features are not specify for mobil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Reusable features are not specify for China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reusable feature logics are build in backend servic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reusable features shall use API/Web Service to have flexibility of configurabl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APIs used in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 shall be configurable in admin portal, to switch to other locations (TBD)</a:t>
            </a:r>
            <a:endParaRPr lang="en-US" dirty="0" smtClean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51704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47923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51704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47923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157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3732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7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he functionalities of </a:t>
            </a:r>
            <a:r>
              <a:rPr lang="en-US" dirty="0" err="1"/>
              <a:t>eApp</a:t>
            </a:r>
            <a:r>
              <a:rPr lang="en-US" dirty="0"/>
              <a:t> (like eAuthentication) to be re-usable, so that I can re-use the functionalities for other use cases ( e.g. for a online customer journey (web</a:t>
            </a:r>
            <a:r>
              <a:rPr lang="en-US" dirty="0" smtClean="0"/>
              <a:t>))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err="1" smtClean="0"/>
              <a:t>Masterdata</a:t>
            </a:r>
            <a:r>
              <a:rPr lang="en-US" dirty="0" smtClean="0"/>
              <a:t> </a:t>
            </a:r>
            <a:r>
              <a:rPr lang="en-US" dirty="0"/>
              <a:t>source is ready</a:t>
            </a:r>
          </a:p>
          <a:p>
            <a:r>
              <a:rPr lang="en-US" dirty="0" smtClean="0"/>
              <a:t>New </a:t>
            </a:r>
            <a:r>
              <a:rPr lang="en-US" dirty="0"/>
              <a:t>vehicle/product updated in </a:t>
            </a:r>
            <a:r>
              <a:rPr lang="en-US" dirty="0" err="1"/>
              <a:t>masterdata</a:t>
            </a:r>
            <a:r>
              <a:rPr lang="en-US" dirty="0"/>
              <a:t> source</a:t>
            </a:r>
          </a:p>
          <a:p>
            <a:pPr lvl="1"/>
            <a:r>
              <a:rPr lang="en-US" dirty="0" smtClean="0"/>
              <a:t>Admin </a:t>
            </a:r>
            <a:r>
              <a:rPr lang="en-US" dirty="0"/>
              <a:t>needs to manually mapping data from </a:t>
            </a:r>
            <a:r>
              <a:rPr lang="en-US" dirty="0" err="1"/>
              <a:t>masterdata</a:t>
            </a:r>
            <a:r>
              <a:rPr lang="en-US" dirty="0"/>
              <a:t> source to </a:t>
            </a:r>
            <a:r>
              <a:rPr lang="en-US" dirty="0" err="1"/>
              <a:t>eApp</a:t>
            </a:r>
            <a:r>
              <a:rPr lang="en-US" dirty="0"/>
              <a:t> database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 smtClean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mtClean="0">
                <a:solidFill>
                  <a:srgbClr val="172B4D"/>
                </a:solidFill>
              </a:rPr>
              <a:t>N/A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/>
              <a:t>The data mapping can be done in portal</a:t>
            </a:r>
          </a:p>
          <a:p>
            <a:r>
              <a:rPr lang="en-US" dirty="0" smtClean="0"/>
              <a:t>Admin </a:t>
            </a:r>
            <a:r>
              <a:rPr lang="en-US" dirty="0"/>
              <a:t>can add/edit/remove data mapping in portal</a:t>
            </a:r>
          </a:p>
          <a:p>
            <a:r>
              <a:rPr lang="en-US" dirty="0" smtClean="0"/>
              <a:t>Admin </a:t>
            </a:r>
            <a:r>
              <a:rPr lang="en-US" dirty="0"/>
              <a:t>can define rules to do batch mapping</a:t>
            </a: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51704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47923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51704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47923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64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12: </a:t>
            </a:r>
            <a:r>
              <a:rPr lang="en-US" b="0" dirty="0"/>
              <a:t>Administration of the </a:t>
            </a:r>
            <a:r>
              <a:rPr lang="en-US" b="0" dirty="0" err="1"/>
              <a:t>eApp</a:t>
            </a: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/>
            </a:r>
            <a:b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809775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1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As a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admin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, I want to have an admin portal, so that I can do configuration and monitoring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re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</a:t>
            </a:r>
            <a:r>
              <a:rPr lang="en-US" altLang="zh-CN" sz="1600" dirty="0" smtClean="0">
                <a:solidFill>
                  <a:srgbClr val="0070C0"/>
                </a:solidFill>
              </a:rPr>
              <a:t>2</a:t>
            </a:r>
            <a:r>
              <a:rPr lang="en-US" sz="1600" dirty="0" smtClean="0">
                <a:solidFill>
                  <a:srgbClr val="0070C0"/>
                </a:solidFill>
              </a:rPr>
              <a:t>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I want to be able to stop usage of the App in case of emergency, so no application can be submitted from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licatio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</a:t>
            </a:r>
            <a:r>
              <a:rPr lang="en-US" altLang="zh-CN" sz="1600" dirty="0" smtClean="0">
                <a:solidFill>
                  <a:srgbClr val="0070C0"/>
                </a:solidFill>
              </a:rPr>
              <a:t>3</a:t>
            </a:r>
            <a:r>
              <a:rPr lang="en-US" sz="1600" dirty="0" smtClean="0">
                <a:solidFill>
                  <a:srgbClr val="0070C0"/>
                </a:solidFill>
              </a:rPr>
              <a:t>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I want to be able to search for pending applications, so that I can find the respective information.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</a:t>
            </a:r>
            <a:r>
              <a:rPr lang="en-US" altLang="zh-CN" sz="1600" dirty="0" smtClean="0">
                <a:solidFill>
                  <a:srgbClr val="0070C0"/>
                </a:solidFill>
              </a:rPr>
              <a:t>4</a:t>
            </a:r>
            <a:r>
              <a:rPr lang="en-US" sz="1600" dirty="0" smtClean="0">
                <a:solidFill>
                  <a:srgbClr val="0070C0"/>
                </a:solidFill>
              </a:rPr>
              <a:t>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I want to export report, so that I can use the report for certain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purpose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</a:t>
            </a:r>
            <a:r>
              <a:rPr lang="en-US" altLang="zh-CN" sz="1600" dirty="0" smtClean="0">
                <a:solidFill>
                  <a:srgbClr val="0070C0"/>
                </a:solidFill>
              </a:rPr>
              <a:t>5</a:t>
            </a:r>
            <a:r>
              <a:rPr lang="en-US" sz="1600" dirty="0" smtClean="0">
                <a:solidFill>
                  <a:srgbClr val="0070C0"/>
                </a:solidFill>
              </a:rPr>
              <a:t>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I want to have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pp usage reports for statistics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so that I can analyze user behavior and improve the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unctionalities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rgbClr val="0070C0"/>
                </a:solidFill>
              </a:rPr>
              <a:t>Story ID: </a:t>
            </a:r>
            <a:r>
              <a:rPr lang="en-US" sz="1600" dirty="0" smtClean="0">
                <a:solidFill>
                  <a:srgbClr val="0070C0"/>
                </a:solidFill>
              </a:rPr>
              <a:t>EP12-S00</a:t>
            </a:r>
            <a:r>
              <a:rPr lang="en-US" altLang="zh-CN" sz="1600" dirty="0" smtClean="0">
                <a:solidFill>
                  <a:srgbClr val="0070C0"/>
                </a:solidFill>
              </a:rPr>
              <a:t>6</a:t>
            </a:r>
            <a:r>
              <a:rPr lang="en-US" sz="1600" dirty="0" smtClean="0">
                <a:solidFill>
                  <a:srgbClr val="0070C0"/>
                </a:solidFill>
              </a:rPr>
              <a:t>-JZ</a:t>
            </a:r>
            <a:r>
              <a:rPr lang="en-US" sz="1600" dirty="0">
                <a:solidFill>
                  <a:srgbClr val="0070C0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I want the functionalities of </a:t>
            </a:r>
            <a:r>
              <a:rPr lang="en-US" sz="1600" dirty="0" err="1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 (like eAuthentication) to be re-usable, so that I can re-use the functionalities for other use cases ( e.g. for a online customer journey (web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)).</a:t>
            </a:r>
            <a:r>
              <a:rPr lang="en-US" sz="1600" dirty="0">
                <a:solidFill>
                  <a:srgbClr val="0070C0"/>
                </a:solidFill>
              </a:rPr>
              <a:t> </a:t>
            </a:r>
            <a:endParaRPr lang="en-US" sz="1600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z="1600" dirty="0" smtClean="0">
                <a:solidFill>
                  <a:srgbClr val="0070C0"/>
                </a:solidFill>
              </a:rPr>
              <a:t>Story </a:t>
            </a:r>
            <a:r>
              <a:rPr lang="en-US" sz="1600" dirty="0">
                <a:solidFill>
                  <a:srgbClr val="0070C0"/>
                </a:solidFill>
              </a:rPr>
              <a:t>ID: EP12-S00</a:t>
            </a:r>
            <a:r>
              <a:rPr lang="en-US" altLang="zh-CN" sz="1600" dirty="0">
                <a:solidFill>
                  <a:srgbClr val="0070C0"/>
                </a:solidFill>
              </a:rPr>
              <a:t>6</a:t>
            </a:r>
            <a:r>
              <a:rPr lang="en-US" sz="1600" dirty="0">
                <a:solidFill>
                  <a:srgbClr val="0070C0"/>
                </a:solidFill>
              </a:rPr>
              <a:t>-JZ: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172B4D"/>
                </a:solidFill>
              </a:rPr>
              <a:t>As a Easy Finance APP admin, I want to manage </a:t>
            </a:r>
            <a:r>
              <a:rPr lang="en-US" sz="1600" dirty="0" err="1">
                <a:solidFill>
                  <a:srgbClr val="172B4D"/>
                </a:solidFill>
              </a:rPr>
              <a:t>masterdata</a:t>
            </a:r>
            <a:r>
              <a:rPr lang="en-US" sz="1600" dirty="0">
                <a:solidFill>
                  <a:srgbClr val="172B4D"/>
                </a:solidFill>
              </a:rPr>
              <a:t> in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>
                <a:solidFill>
                  <a:srgbClr val="172B4D"/>
                </a:solidFill>
              </a:rPr>
              <a:t>, so that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>
                <a:solidFill>
                  <a:srgbClr val="172B4D"/>
                </a:solidFill>
              </a:rPr>
              <a:t> can show correct information to customer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0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1-JZ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o have an admin portal, so that I can do configuration and monitoring there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are admins to maintain </a:t>
            </a:r>
            <a:r>
              <a:rPr lang="en-US" dirty="0" err="1" smtClean="0">
                <a:solidFill>
                  <a:srgbClr val="172B4D"/>
                </a:solidFill>
                <a:latin typeface="+mj-lt"/>
              </a:rPr>
              <a:t>eApp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Features and reports are updated online in real time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None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>
                <a:solidFill>
                  <a:srgbClr val="172B4D"/>
                </a:solidFill>
              </a:rPr>
              <a:t>The </a:t>
            </a:r>
            <a:r>
              <a:rPr lang="en-US" dirty="0" smtClean="0">
                <a:solidFill>
                  <a:srgbClr val="172B4D"/>
                </a:solidFill>
              </a:rPr>
              <a:t>admin portal should be a separate site from DF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re should be access control on this portal</a:t>
            </a:r>
          </a:p>
          <a:p>
            <a:r>
              <a:rPr lang="en-US" dirty="0">
                <a:solidFill>
                  <a:srgbClr val="172B4D"/>
                </a:solidFill>
              </a:rPr>
              <a:t>The CI should comply to BMW standard</a:t>
            </a: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0483923" y="59868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83923" y="156088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2" name="Oval 11"/>
          <p:cNvSpPr/>
          <p:nvPr/>
        </p:nvSpPr>
        <p:spPr>
          <a:xfrm>
            <a:off x="9958406" y="59868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9958406" y="156088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75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12321" y="1534886"/>
            <a:ext cx="11397343" cy="5208814"/>
            <a:chOff x="612321" y="1534886"/>
            <a:chExt cx="11397343" cy="5208814"/>
          </a:xfrm>
        </p:grpSpPr>
        <p:sp>
          <p:nvSpPr>
            <p:cNvPr id="7" name="Rectangle 6"/>
            <p:cNvSpPr/>
            <p:nvPr/>
          </p:nvSpPr>
          <p:spPr>
            <a:xfrm>
              <a:off x="612321" y="1534886"/>
              <a:ext cx="11397343" cy="52006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612321" y="1983921"/>
              <a:ext cx="11397343" cy="0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000250" y="1983921"/>
              <a:ext cx="0" cy="4759779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726621" y="1574738"/>
              <a:ext cx="110217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BMW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2321" y="2066471"/>
              <a:ext cx="1387929" cy="369332"/>
            </a:xfrm>
            <a:prstGeom prst="rect">
              <a:avLst/>
            </a:prstGeom>
            <a:solidFill>
              <a:srgbClr val="3F7BFD"/>
            </a:solidFill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BMW Group Condensed" panose="020B0606020202020204" pitchFamily="34" charset="0"/>
                </a:rPr>
                <a:t>Requests </a:t>
              </a:r>
              <a:endPara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321" y="2588532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Report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2321" y="3110593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Configure</a:t>
              </a:r>
              <a:endPara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686596" y="1624373"/>
            <a:ext cx="2350106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dmin@bmw.com</a:t>
            </a:r>
          </a:p>
        </p:txBody>
      </p:sp>
      <p:sp>
        <p:nvSpPr>
          <p:cNvPr id="8" name="Rectangle 7"/>
          <p:cNvSpPr/>
          <p:nvPr/>
        </p:nvSpPr>
        <p:spPr>
          <a:xfrm>
            <a:off x="2220685" y="2147207"/>
            <a:ext cx="7894865" cy="4000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478406" y="2166875"/>
            <a:ext cx="1296913" cy="3429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arch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220685" y="2815193"/>
          <a:ext cx="9616320" cy="3110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264"/>
                <a:gridCol w="1923264"/>
                <a:gridCol w="1923264"/>
                <a:gridCol w="1923264"/>
                <a:gridCol w="1923264"/>
              </a:tblGrid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pplicationNo</a:t>
                      </a:r>
                      <a:r>
                        <a:rPr lang="en-US" dirty="0" smtClean="0"/>
                        <a:t>/</a:t>
                      </a:r>
                      <a:r>
                        <a:rPr lang="en-US" dirty="0" err="1" smtClean="0"/>
                        <a:t>Contract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t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张三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2112345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os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李四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12334563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cess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王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321322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rov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421" y="2957864"/>
            <a:ext cx="261775" cy="26177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193" y="2964928"/>
            <a:ext cx="261775" cy="26177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6027" y="3110593"/>
            <a:ext cx="261775" cy="2617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650" y="2949958"/>
            <a:ext cx="261775" cy="26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940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</a:t>
            </a:r>
            <a:r>
              <a:rPr lang="en-US" altLang="zh-CN" dirty="0" smtClean="0"/>
              <a:t>2</a:t>
            </a:r>
            <a:r>
              <a:rPr lang="en-US" dirty="0" smtClean="0"/>
              <a:t>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o be able to stop usage of the App in case of emergency, so no application can be submitted from eApplication 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s use </a:t>
            </a:r>
            <a:r>
              <a:rPr lang="en-US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 to apply loan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 application from app shall be freeze due to certain reasons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should be an admin portal to configure all admin features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After stop from admin portal, all applications from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 are not allowed to submit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re should be a end date and description of this emergency stop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re is a notification for user, to describe the reason of stopping service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7597" y="45172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797597" y="141392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10272080" y="45172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72080" y="141392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97597" y="237612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72080" y="237612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58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12321" y="1534886"/>
            <a:ext cx="11397343" cy="5208814"/>
            <a:chOff x="612321" y="1534886"/>
            <a:chExt cx="11397343" cy="5208814"/>
          </a:xfrm>
        </p:grpSpPr>
        <p:sp>
          <p:nvSpPr>
            <p:cNvPr id="7" name="Rectangle 6"/>
            <p:cNvSpPr/>
            <p:nvPr/>
          </p:nvSpPr>
          <p:spPr>
            <a:xfrm>
              <a:off x="612321" y="1534886"/>
              <a:ext cx="11397343" cy="52006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612321" y="1983921"/>
              <a:ext cx="11397343" cy="0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000250" y="1983921"/>
              <a:ext cx="0" cy="4759779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726621" y="1574738"/>
              <a:ext cx="110217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BMW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20484" y="2061709"/>
              <a:ext cx="125639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Requests</a:t>
              </a:r>
              <a:r>
                <a:rPr lang="en-US" dirty="0" smtClean="0">
                  <a:solidFill>
                    <a:schemeClr val="bg1"/>
                  </a:solidFill>
                  <a:latin typeface="BMW Group Condensed" panose="020B0606020202020204" pitchFamily="34" charset="0"/>
                </a:rPr>
                <a:t> </a:t>
              </a:r>
              <a:endPara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321" y="2588532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Report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2321" y="3110593"/>
              <a:ext cx="1387929" cy="369332"/>
            </a:xfrm>
            <a:prstGeom prst="rect">
              <a:avLst/>
            </a:prstGeom>
            <a:solidFill>
              <a:srgbClr val="3F7BFD"/>
            </a:solidFill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BMW Group Condensed" panose="020B0606020202020204" pitchFamily="34" charset="0"/>
                </a:rPr>
                <a:t>Configure</a:t>
              </a:r>
              <a:endPara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686596" y="1624373"/>
            <a:ext cx="2350106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dmin@bmw.com</a:t>
            </a:r>
          </a:p>
        </p:txBody>
      </p:sp>
      <p:sp>
        <p:nvSpPr>
          <p:cNvPr id="8" name="Rectangle 7"/>
          <p:cNvSpPr/>
          <p:nvPr/>
        </p:nvSpPr>
        <p:spPr>
          <a:xfrm>
            <a:off x="2873828" y="2147207"/>
            <a:ext cx="8146750" cy="40005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mergency</a:t>
            </a:r>
            <a:r>
              <a:rPr lang="en-US" sz="18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Stop 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766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</a:t>
            </a:r>
            <a:r>
              <a:rPr lang="en-US" altLang="zh-CN" dirty="0" smtClean="0"/>
              <a:t>3</a:t>
            </a:r>
            <a:r>
              <a:rPr lang="en-US" dirty="0" smtClean="0"/>
              <a:t>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o be able to search for </a:t>
            </a:r>
            <a:r>
              <a:rPr lang="en-US" dirty="0" smtClean="0"/>
              <a:t>applications</a:t>
            </a:r>
            <a:r>
              <a:rPr lang="en-US" dirty="0"/>
              <a:t>, so that I can find the respective </a:t>
            </a:r>
            <a:r>
              <a:rPr lang="en-US" dirty="0" smtClean="0"/>
              <a:t>information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dmin needs to track application status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dmin needs to find specific application(s) among all applications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There should be </a:t>
            </a:r>
            <a:r>
              <a:rPr lang="en-US" dirty="0" smtClean="0">
                <a:solidFill>
                  <a:srgbClr val="172B4D"/>
                </a:solidFill>
              </a:rPr>
              <a:t>a page in </a:t>
            </a:r>
            <a:r>
              <a:rPr lang="en-US" dirty="0">
                <a:solidFill>
                  <a:srgbClr val="172B4D"/>
                </a:solidFill>
              </a:rPr>
              <a:t>admin portal to </a:t>
            </a:r>
            <a:r>
              <a:rPr lang="en-US" dirty="0" smtClean="0">
                <a:solidFill>
                  <a:srgbClr val="172B4D"/>
                </a:solidFill>
              </a:rPr>
              <a:t>track all applications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search should have multiple dimensions, like date, keyword, customer name, etc.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0483923" y="52520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83923" y="148740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2" name="Oval 11"/>
          <p:cNvSpPr/>
          <p:nvPr/>
        </p:nvSpPr>
        <p:spPr>
          <a:xfrm>
            <a:off x="9958406" y="52520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9958406" y="148740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961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12321" y="1534886"/>
            <a:ext cx="11397343" cy="5208814"/>
            <a:chOff x="612321" y="1534886"/>
            <a:chExt cx="11397343" cy="5208814"/>
          </a:xfrm>
        </p:grpSpPr>
        <p:sp>
          <p:nvSpPr>
            <p:cNvPr id="7" name="Rectangle 6"/>
            <p:cNvSpPr/>
            <p:nvPr/>
          </p:nvSpPr>
          <p:spPr>
            <a:xfrm>
              <a:off x="612321" y="1534886"/>
              <a:ext cx="11397343" cy="52006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612321" y="1983921"/>
              <a:ext cx="11397343" cy="0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000250" y="1983921"/>
              <a:ext cx="0" cy="4759779"/>
            </a:xfrm>
            <a:prstGeom prst="line">
              <a:avLst/>
            </a:prstGeom>
            <a:ln w="12700">
              <a:solidFill>
                <a:srgbClr val="92A2BD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726621" y="1574738"/>
              <a:ext cx="110217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BMW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2321" y="2066471"/>
              <a:ext cx="1387929" cy="369332"/>
            </a:xfrm>
            <a:prstGeom prst="rect">
              <a:avLst/>
            </a:prstGeom>
            <a:solidFill>
              <a:srgbClr val="3F7BFD"/>
            </a:solidFill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BMW Group Condensed" panose="020B0606020202020204" pitchFamily="34" charset="0"/>
                </a:rPr>
                <a:t>Requests </a:t>
              </a:r>
              <a:endPara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321" y="2588532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Report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12321" y="3110593"/>
              <a:ext cx="1387929" cy="369332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Configure</a:t>
              </a:r>
              <a:endPara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686596" y="1624373"/>
            <a:ext cx="2350106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dmin@bmw.com</a:t>
            </a:r>
          </a:p>
        </p:txBody>
      </p:sp>
      <p:sp>
        <p:nvSpPr>
          <p:cNvPr id="8" name="Rectangle 7"/>
          <p:cNvSpPr/>
          <p:nvPr/>
        </p:nvSpPr>
        <p:spPr>
          <a:xfrm>
            <a:off x="2220685" y="2147207"/>
            <a:ext cx="7894865" cy="4000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478406" y="2166875"/>
            <a:ext cx="1296913" cy="3429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arch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220685" y="2815193"/>
          <a:ext cx="9616320" cy="3110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264"/>
                <a:gridCol w="1923264"/>
                <a:gridCol w="1923264"/>
                <a:gridCol w="1923264"/>
                <a:gridCol w="1923264"/>
              </a:tblGrid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pplicationNo</a:t>
                      </a:r>
                      <a:r>
                        <a:rPr lang="en-US" dirty="0" smtClean="0"/>
                        <a:t>/</a:t>
                      </a:r>
                      <a:r>
                        <a:rPr lang="en-US" dirty="0" err="1" smtClean="0"/>
                        <a:t>Contract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t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张三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2112345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os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李四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12334563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cess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王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N1233321322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rov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7517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421" y="2957864"/>
            <a:ext cx="261775" cy="26177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193" y="2964928"/>
            <a:ext cx="261775" cy="26177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6027" y="3110593"/>
            <a:ext cx="261775" cy="2617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650" y="2949958"/>
            <a:ext cx="261775" cy="26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02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2-S00</a:t>
            </a:r>
            <a:r>
              <a:rPr lang="en-US" altLang="zh-CN" dirty="0" smtClean="0"/>
              <a:t>4</a:t>
            </a:r>
            <a:r>
              <a:rPr lang="en-US" dirty="0" smtClean="0"/>
              <a:t>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admin, I want to export report, so that I can use the report for certain purpose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are admins to maintain </a:t>
            </a:r>
            <a:r>
              <a:rPr lang="en-US" dirty="0" err="1" smtClean="0">
                <a:solidFill>
                  <a:srgbClr val="172B4D"/>
                </a:solidFill>
                <a:latin typeface="+mj-lt"/>
              </a:rPr>
              <a:t>eApp</a:t>
            </a:r>
            <a:endParaRPr lang="en-US" dirty="0">
              <a:solidFill>
                <a:srgbClr val="172B4D"/>
              </a:solidFill>
              <a:latin typeface="+mj-lt"/>
            </a:endParaRP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dmin needs a report from portal</a:t>
            </a: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dmin portal stores all admin actions in log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Admin portal tracks all applications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Admin actions can be export as a report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Search results can be export as a report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report format should be pdf/excel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3923" y="2271575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2271576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04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vnriSTZy6FzLqaCh0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vnriSTZy6FzLqaCh0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k50wlDQv2tWl_700Cx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vnriSTZy6FzLqaCh0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vnriSTZy6FzLqaCh0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vnriSTZy6FzLqaCh0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101</Words>
  <Application>Microsoft Office PowerPoint</Application>
  <PresentationFormat>Widescreen</PresentationFormat>
  <Paragraphs>24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think-cell Slide</vt:lpstr>
      <vt:lpstr>PowerPoint Presentation</vt:lpstr>
      <vt:lpstr>EF-EP-012: Administration of the eApp </vt:lpstr>
      <vt:lpstr>Story ID: EP12-S001-JZ:  </vt:lpstr>
      <vt:lpstr>Story ID: ES-S000 </vt:lpstr>
      <vt:lpstr>Story ID: EP12-S002-JZ:</vt:lpstr>
      <vt:lpstr>Story ID: ES-S000 </vt:lpstr>
      <vt:lpstr>Story ID: EP12-S003-JZ:</vt:lpstr>
      <vt:lpstr>Story ID: ES-S000 </vt:lpstr>
      <vt:lpstr>Story ID: EP12-S004-JZ:</vt:lpstr>
      <vt:lpstr>Story ID: ES-S000 </vt:lpstr>
      <vt:lpstr>Story ID: EP12-S005-JZ:</vt:lpstr>
      <vt:lpstr>Story ID: ES-S000 </vt:lpstr>
      <vt:lpstr>Story ID: EP12-S006-JZ:</vt:lpstr>
      <vt:lpstr>Story ID: EP12-S007-JZ: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Zhu Jichao, FG-CN-2</cp:lastModifiedBy>
  <cp:revision>223</cp:revision>
  <dcterms:created xsi:type="dcterms:W3CDTF">2017-04-27T07:24:45Z</dcterms:created>
  <dcterms:modified xsi:type="dcterms:W3CDTF">2018-11-05T10:16:47Z</dcterms:modified>
</cp:coreProperties>
</file>